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257" r:id="rId2"/>
    <p:sldId id="259" r:id="rId3"/>
    <p:sldId id="262" r:id="rId4"/>
    <p:sldId id="260" r:id="rId5"/>
    <p:sldId id="261" r:id="rId6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entson Magnus" initials="KM" lastIdx="7" clrIdx="0">
    <p:extLst>
      <p:ext uri="{19B8F6BF-5375-455C-9EA6-DF929625EA0E}">
        <p15:presenceInfo xmlns:p15="http://schemas.microsoft.com/office/powerpoint/2012/main" userId="S-1-5-21-796845957-343818398-839522115-1148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 snapToGrid="0">
      <p:cViewPr varScale="1">
        <p:scale>
          <a:sx n="65" d="100"/>
          <a:sy n="65" d="100"/>
        </p:scale>
        <p:origin x="594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3-09-20T16:52:07.260" idx="7">
    <p:pos x="4866" y="1959"/>
    <p:text>finns nu utkast  se detta</p:text>
    <p:extLst>
      <p:ext uri="{C676402C-5697-4E1C-873F-D02D1690AC5C}">
        <p15:threadingInfo xmlns:p15="http://schemas.microsoft.com/office/powerpoint/2012/main" timeZoneBias="-120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2779CF-797F-4F84-9109-89567B881465}" type="datetimeFigureOut">
              <a:rPr lang="sv-SE" smtClean="0"/>
              <a:t>2023-11-21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67A1F1-33EB-448A-913B-98CA9464E5E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895904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-180975" y="835025"/>
            <a:ext cx="7402513" cy="41656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3291F-9DCB-46ED-BF32-F247FD2AAAA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8769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23940478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19359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69457"/>
            <a:ext cx="11393620" cy="1593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99119" y="799153"/>
            <a:ext cx="9641736" cy="2827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399563" y="5902245"/>
            <a:ext cx="11577916" cy="510219"/>
          </a:xfrm>
        </p:spPr>
        <p:txBody>
          <a:bodyPr anchor="b" anchorCtr="0"/>
          <a:lstStyle>
            <a:lvl1pPr marL="0" indent="0" defTabSz="639708">
              <a:lnSpc>
                <a:spcPts val="919"/>
              </a:lnSpc>
              <a:spcAft>
                <a:spcPts val="0"/>
              </a:spcAft>
              <a:buNone/>
              <a:tabLst>
                <a:tab pos="479376" algn="r"/>
                <a:tab pos="639708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xxx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Platshållare för bildnummer 5"/>
          <p:cNvSpPr txBox="1">
            <a:spLocks/>
          </p:cNvSpPr>
          <p:nvPr userDrawn="1"/>
        </p:nvSpPr>
        <p:spPr>
          <a:xfrm>
            <a:off x="11136641" y="6533748"/>
            <a:ext cx="7200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6C602A-63EE-46CF-AAA0-57BFED8B59D2}" type="slidenum">
              <a:rPr lang="en-GB" sz="800" smtClean="0">
                <a:solidFill>
                  <a:srgbClr val="FFFFFF"/>
                </a:solidFill>
              </a:rPr>
              <a:pPr/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9604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609600" y="6308726"/>
            <a:ext cx="2844800" cy="4127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4932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9008842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38239578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21103594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092388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2307308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26098521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8837519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500"/>
            <a:ext cx="12192599" cy="6859499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2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49"/>
            <a:ext cx="9608400" cy="1310851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fld id="{4B42D259-ACB8-4FD1-AC0F-9CAC8F5E07E0}" type="datetimeFigureOut">
              <a:rPr lang="sv-SE" sz="1200" smtClean="0">
                <a:solidFill>
                  <a:prstClr val="black"/>
                </a:solidFill>
                <a:latin typeface="Arial"/>
              </a:rPr>
              <a:pPr defTabSz="914377">
                <a:defRPr/>
              </a:pPr>
              <a:t>2023-11-21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defTabSz="914377">
              <a:defRPr/>
            </a:pP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 defTabSz="914377">
              <a:defRPr/>
            </a:pPr>
            <a:fld id="{34C9B0E5-37D7-412E-A162-6A236BADC197}" type="slidenum">
              <a:rPr lang="sv-SE" sz="1200" smtClean="0">
                <a:solidFill>
                  <a:prstClr val="black"/>
                </a:solidFill>
                <a:latin typeface="Arial"/>
              </a:rPr>
              <a:pPr algn="r" defTabSz="914377">
                <a:defRPr/>
              </a:pPr>
              <a:t>‹#›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9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822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>
              <a:solidFill>
                <a:srgbClr val="363636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269924" y="1118585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269924" y="1842484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rgbClr val="363636"/>
                </a:solidFill>
                <a:latin typeface="Arial"/>
              </a:rPr>
              <a:t>Sydöstra sjukvårdsregionen</a:t>
            </a:r>
            <a:endParaRPr lang="sv-SE" sz="1467" dirty="0">
              <a:solidFill>
                <a:srgbClr val="36363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37020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4" Type="http://schemas.openxmlformats.org/officeDocument/2006/relationships/comments" Target="../comments/commen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-104775" y="0"/>
            <a:ext cx="12192000" cy="59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7" name="Rubrik 6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2030511"/>
          </a:xfrm>
        </p:spPr>
        <p:txBody>
          <a:bodyPr>
            <a:noAutofit/>
          </a:bodyPr>
          <a:lstStyle/>
          <a:p>
            <a:pPr lvl="0" algn="l"/>
            <a:r>
              <a:rPr lang="sv-SE" sz="4800" dirty="0">
                <a:solidFill>
                  <a:schemeClr val="bg1"/>
                </a:solidFill>
              </a:rPr>
              <a:t>RPO </a:t>
            </a:r>
            <a:r>
              <a:rPr lang="sv-SE" sz="4800" dirty="0" err="1">
                <a:solidFill>
                  <a:schemeClr val="bg1"/>
                </a:solidFill>
              </a:rPr>
              <a:t>Lung</a:t>
            </a:r>
            <a:r>
              <a:rPr lang="sv-SE" sz="4800" dirty="0">
                <a:solidFill>
                  <a:schemeClr val="bg1"/>
                </a:solidFill>
              </a:rPr>
              <a:t> och allergi</a:t>
            </a:r>
            <a:br>
              <a:rPr lang="sv-SE" sz="3200" dirty="0">
                <a:solidFill>
                  <a:schemeClr val="bg1"/>
                </a:solidFill>
              </a:rPr>
            </a:b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>Översiktlig handlingsplan för 2023</a:t>
            </a:r>
            <a:br>
              <a:rPr lang="sv-SE" sz="3200" dirty="0">
                <a:solidFill>
                  <a:schemeClr val="bg1"/>
                </a:solidFill>
              </a:rPr>
            </a:b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1400" dirty="0">
                <a:solidFill>
                  <a:schemeClr val="bg1"/>
                </a:solidFill>
              </a:rPr>
              <a:t>Uppdaterad RPO möte 231102 samt 231114</a:t>
            </a:r>
            <a:br>
              <a:rPr lang="sv-SE" sz="1400" dirty="0">
                <a:solidFill>
                  <a:schemeClr val="bg1"/>
                </a:solidFill>
              </a:rPr>
            </a:br>
            <a:br>
              <a:rPr lang="sv-SE" sz="1400" dirty="0">
                <a:solidFill>
                  <a:schemeClr val="bg1"/>
                </a:solidFill>
              </a:rPr>
            </a:br>
            <a:endParaRPr lang="sv-S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3022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723933"/>
            <a:ext cx="10972800" cy="1143000"/>
          </a:xfrm>
        </p:spPr>
        <p:txBody>
          <a:bodyPr>
            <a:normAutofit fontScale="90000"/>
          </a:bodyPr>
          <a:lstStyle/>
          <a:p>
            <a:r>
              <a:rPr lang="sv-SE" dirty="0"/>
              <a:t>Revision av handlingsplan för RPO </a:t>
            </a:r>
            <a:r>
              <a:rPr lang="sv-SE" dirty="0" err="1"/>
              <a:t>lung</a:t>
            </a:r>
            <a:r>
              <a:rPr lang="sv-SE" dirty="0"/>
              <a:t> och allergi nov 2023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09600" y="2525526"/>
            <a:ext cx="10972800" cy="3744415"/>
          </a:xfrm>
        </p:spPr>
        <p:txBody>
          <a:bodyPr>
            <a:normAutofit/>
          </a:bodyPr>
          <a:lstStyle/>
          <a:p>
            <a:r>
              <a:rPr lang="sv-SE" sz="2800" dirty="0"/>
              <a:t>Ersätter årsrapport </a:t>
            </a:r>
          </a:p>
          <a:p>
            <a:r>
              <a:rPr lang="sv-SE" sz="2800" dirty="0"/>
              <a:t>Redovisas 15 nov Kunskapsråd sydöstra</a:t>
            </a:r>
          </a:p>
        </p:txBody>
      </p:sp>
    </p:spTree>
    <p:extLst>
      <p:ext uri="{BB962C8B-B14F-4D97-AF65-F5344CB8AC3E}">
        <p14:creationId xmlns:p14="http://schemas.microsoft.com/office/powerpoint/2010/main" val="17637042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R 231115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pPr lvl="0">
              <a:lnSpc>
                <a:spcPct val="170000"/>
              </a:lnSpc>
            </a:pPr>
            <a:r>
              <a:rPr lang="sv-SE" dirty="0"/>
              <a:t>Tydlig koppling till det nationella insatsområdena (om detta är känt) </a:t>
            </a:r>
          </a:p>
          <a:p>
            <a:pPr lvl="0">
              <a:lnSpc>
                <a:spcPct val="170000"/>
              </a:lnSpc>
            </a:pPr>
            <a:r>
              <a:rPr lang="sv-SE" dirty="0"/>
              <a:t>Tydlig koppling till sydöstra sjukvårdsregionens löften</a:t>
            </a:r>
          </a:p>
          <a:p>
            <a:pPr lvl="0">
              <a:lnSpc>
                <a:spcPct val="170000"/>
              </a:lnSpc>
            </a:pPr>
            <a:r>
              <a:rPr lang="sv-SE" dirty="0"/>
              <a:t>Tydlig beskrivning på hur ert RPO tänker följa upp valda aktiviteter</a:t>
            </a:r>
          </a:p>
          <a:p>
            <a:pPr lvl="0">
              <a:lnSpc>
                <a:spcPct val="170000"/>
              </a:lnSpc>
            </a:pPr>
            <a:r>
              <a:rPr lang="sv-SE" dirty="0"/>
              <a:t>Tydlig beskrivning om flera RPO eller RSG ingår i aktiviteten  </a:t>
            </a:r>
          </a:p>
          <a:p>
            <a:pPr>
              <a:lnSpc>
                <a:spcPct val="170000"/>
              </a:lnSpc>
            </a:pPr>
            <a:r>
              <a:rPr lang="sv-SE" dirty="0"/>
              <a:t> </a:t>
            </a:r>
          </a:p>
          <a:p>
            <a:pPr>
              <a:lnSpc>
                <a:spcPct val="170000"/>
              </a:lnSpc>
            </a:pPr>
            <a:r>
              <a:rPr lang="sv-SE" dirty="0"/>
              <a:t> </a:t>
            </a:r>
          </a:p>
          <a:p>
            <a:pPr>
              <a:lnSpc>
                <a:spcPct val="170000"/>
              </a:lnSpc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966227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9273275"/>
              </p:ext>
            </p:extLst>
          </p:nvPr>
        </p:nvGraphicFramePr>
        <p:xfrm>
          <a:off x="0" y="-452215"/>
          <a:ext cx="12191999" cy="1004136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44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49499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3441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1" i="0" dirty="0">
                          <a:solidFill>
                            <a:schemeClr val="tx1"/>
                          </a:solidFill>
                        </a:rPr>
                        <a:t>Lungcancer</a:t>
                      </a:r>
                    </a:p>
                    <a:p>
                      <a:endParaRPr lang="sv-SE" sz="1200" b="1" i="0" baseline="0" dirty="0">
                        <a:solidFill>
                          <a:srgbClr val="FF0000"/>
                        </a:solidFill>
                        <a:latin typeface="+mj-lt"/>
                      </a:endParaRPr>
                    </a:p>
                    <a:p>
                      <a:pPr algn="l"/>
                      <a:r>
                        <a:rPr lang="sv-SE" sz="700" b="0" i="1" dirty="0">
                          <a:solidFill>
                            <a:schemeClr val="accent1"/>
                          </a:solidFill>
                          <a:effectLst/>
                          <a:latin typeface="Graphik"/>
                        </a:rPr>
                        <a:t>Som patient i Sydöstra sjukvårdsregionen ska du; </a:t>
                      </a:r>
                    </a:p>
                    <a:p>
                      <a:pPr algn="l"/>
                      <a:endParaRPr lang="sv-SE" sz="700" b="0" i="1" dirty="0">
                        <a:solidFill>
                          <a:schemeClr val="accent1"/>
                        </a:solidFill>
                        <a:effectLst/>
                        <a:latin typeface="Graphik"/>
                      </a:endParaRPr>
                    </a:p>
                    <a:p>
                      <a:pPr lvl="1">
                        <a:buFont typeface="Arial" panose="020B0604020202020204" pitchFamily="34" charset="0"/>
                        <a:buChar char="•"/>
                      </a:pPr>
                      <a:r>
                        <a:rPr lang="sv-SE" sz="700" b="0" i="1" dirty="0">
                          <a:solidFill>
                            <a:schemeClr val="accent1"/>
                          </a:solidFill>
                          <a:effectLst/>
                          <a:latin typeface="Graphik"/>
                        </a:rPr>
                        <a:t>erbjudas vård som är lätt tillgänglig för kontakt, bedömning och besök</a:t>
                      </a:r>
                    </a:p>
                    <a:p>
                      <a:pPr lvl="1">
                        <a:buFont typeface="Arial" panose="020B0604020202020204" pitchFamily="34" charset="0"/>
                        <a:buNone/>
                      </a:pPr>
                      <a:endParaRPr lang="sv-SE" sz="700" b="0" i="1" dirty="0">
                        <a:solidFill>
                          <a:schemeClr val="accent1"/>
                        </a:solidFill>
                        <a:effectLst/>
                        <a:latin typeface="Graphik"/>
                      </a:endParaRPr>
                    </a:p>
                    <a:p>
                      <a:pPr lvl="1">
                        <a:buFont typeface="Arial" panose="020B0604020202020204" pitchFamily="34" charset="0"/>
                        <a:buChar char="•"/>
                      </a:pPr>
                      <a:r>
                        <a:rPr lang="sv-SE" sz="700" b="0" i="1" dirty="0">
                          <a:solidFill>
                            <a:schemeClr val="accent1"/>
                          </a:solidFill>
                          <a:effectLst/>
                          <a:latin typeface="Graphik"/>
                        </a:rPr>
                        <a:t>erbjudas diagnostik och behandling och uppföljning enligt bästa kunskap i varje möte</a:t>
                      </a:r>
                    </a:p>
                    <a:p>
                      <a:pPr lvl="1">
                        <a:buFont typeface="Arial" panose="020B0604020202020204" pitchFamily="34" charset="0"/>
                        <a:buNone/>
                      </a:pPr>
                      <a:endParaRPr lang="sv-SE" sz="700" b="0" i="1" dirty="0">
                        <a:solidFill>
                          <a:schemeClr val="accent1"/>
                        </a:solidFill>
                        <a:effectLst/>
                        <a:latin typeface="Graphik"/>
                      </a:endParaRPr>
                    </a:p>
                    <a:p>
                      <a:pPr lvl="1">
                        <a:buFont typeface="Arial" panose="020B0604020202020204" pitchFamily="34" charset="0"/>
                        <a:buChar char="•"/>
                      </a:pPr>
                      <a:r>
                        <a:rPr lang="sv-SE" sz="700" b="0" i="1" dirty="0">
                          <a:solidFill>
                            <a:schemeClr val="accent1"/>
                          </a:solidFill>
                          <a:effectLst/>
                          <a:latin typeface="Graphik"/>
                        </a:rPr>
                        <a:t>vara delaktig och välinformerad genom hela vårdkedjan</a:t>
                      </a:r>
                    </a:p>
                    <a:p>
                      <a:pPr lvl="1">
                        <a:buFont typeface="Arial" panose="020B0604020202020204" pitchFamily="34" charset="0"/>
                        <a:buNone/>
                      </a:pPr>
                      <a:endParaRPr lang="sv-SE" sz="700" b="0" i="1" dirty="0">
                        <a:solidFill>
                          <a:schemeClr val="accent1"/>
                        </a:solidFill>
                        <a:effectLst/>
                        <a:latin typeface="Graphik"/>
                      </a:endParaRPr>
                    </a:p>
                    <a:p>
                      <a:pPr lvl="1">
                        <a:buFont typeface="Arial" panose="020B0604020202020204" pitchFamily="34" charset="0"/>
                        <a:buChar char="•"/>
                      </a:pPr>
                      <a:r>
                        <a:rPr lang="sv-SE" sz="700" b="0" i="1" dirty="0">
                          <a:solidFill>
                            <a:schemeClr val="accent1"/>
                          </a:solidFill>
                          <a:effectLst/>
                          <a:latin typeface="Graphik"/>
                        </a:rPr>
                        <a:t>få tillgång till jämlik vård</a:t>
                      </a:r>
                    </a:p>
                    <a:p>
                      <a:pPr lvl="1">
                        <a:buFont typeface="Arial" panose="020B0604020202020204" pitchFamily="34" charset="0"/>
                        <a:buNone/>
                      </a:pPr>
                      <a:endParaRPr lang="sv-SE" sz="700" b="0" i="1" dirty="0">
                        <a:solidFill>
                          <a:schemeClr val="accent1"/>
                        </a:solidFill>
                        <a:effectLst/>
                        <a:latin typeface="Graphik"/>
                      </a:endParaRPr>
                    </a:p>
                    <a:p>
                      <a:pPr lvl="1">
                        <a:buFont typeface="Arial" panose="020B0604020202020204" pitchFamily="34" charset="0"/>
                        <a:buChar char="•"/>
                      </a:pPr>
                      <a:r>
                        <a:rPr lang="sv-SE" sz="700" b="0" i="1" dirty="0">
                          <a:solidFill>
                            <a:schemeClr val="accent1"/>
                          </a:solidFill>
                          <a:effectLst/>
                          <a:latin typeface="Graphik"/>
                        </a:rPr>
                        <a:t>erbjudas bästa möjliga</a:t>
                      </a:r>
                    </a:p>
                    <a:p>
                      <a:pPr lvl="1">
                        <a:buFont typeface="Arial" panose="020B0604020202020204" pitchFamily="34" charset="0"/>
                        <a:buChar char="•"/>
                      </a:pPr>
                      <a:r>
                        <a:rPr lang="sv-SE" sz="700" b="0" i="1" dirty="0">
                          <a:solidFill>
                            <a:schemeClr val="accent1"/>
                          </a:solidFill>
                          <a:effectLst/>
                          <a:latin typeface="Graphik"/>
                        </a:rPr>
                        <a:t>hälsofrämjande insatser och välfungerande screeningprogram</a:t>
                      </a:r>
                    </a:p>
                    <a:p>
                      <a:pPr lvl="1">
                        <a:buFont typeface="Arial" panose="020B0604020202020204" pitchFamily="34" charset="0"/>
                        <a:buNone/>
                      </a:pPr>
                      <a:endParaRPr lang="sv-SE" sz="700" b="0" i="1" dirty="0">
                        <a:solidFill>
                          <a:schemeClr val="accent1"/>
                        </a:solidFill>
                        <a:effectLst/>
                        <a:latin typeface="Graphik"/>
                      </a:endParaRPr>
                    </a:p>
                    <a:p>
                      <a:pPr lvl="1">
                        <a:buFont typeface="Arial" panose="020B0604020202020204" pitchFamily="34" charset="0"/>
                        <a:buChar char="•"/>
                      </a:pPr>
                      <a:r>
                        <a:rPr lang="sv-SE" sz="700" b="0" i="1" dirty="0">
                          <a:solidFill>
                            <a:schemeClr val="accent1"/>
                          </a:solidFill>
                          <a:effectLst/>
                          <a:latin typeface="Graphik"/>
                        </a:rPr>
                        <a:t>få tillgång till patientsäker vård</a:t>
                      </a:r>
                    </a:p>
                    <a:p>
                      <a:pPr lvl="1">
                        <a:buFont typeface="Arial" panose="020B0604020202020204" pitchFamily="34" charset="0"/>
                        <a:buChar char="•"/>
                      </a:pPr>
                      <a:endParaRPr lang="sv-SE" sz="700" b="0" i="1" dirty="0">
                        <a:solidFill>
                          <a:schemeClr val="accent1"/>
                        </a:solidFill>
                        <a:effectLst/>
                        <a:latin typeface="Graphik"/>
                      </a:endParaRPr>
                    </a:p>
                    <a:p>
                      <a:pPr lvl="1">
                        <a:buFont typeface="Arial" panose="020B0604020202020204" pitchFamily="34" charset="0"/>
                        <a:buChar char="•"/>
                      </a:pPr>
                      <a:r>
                        <a:rPr lang="sv-SE" sz="700" b="0" i="1" dirty="0">
                          <a:solidFill>
                            <a:schemeClr val="accent1"/>
                          </a:solidFill>
                          <a:effectLst/>
                          <a:latin typeface="Graphik"/>
                        </a:rPr>
                        <a:t>erbjudas kostnadseffektiv vård</a:t>
                      </a:r>
                    </a:p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endParaRPr lang="sv-SE" sz="700" i="1" dirty="0">
                        <a:solidFill>
                          <a:schemeClr val="accent1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r>
                        <a:rPr lang="sv-SE" sz="900" b="0" i="1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=RCC kriterier</a:t>
                      </a:r>
                    </a:p>
                    <a:p>
                      <a:endParaRPr lang="sv-SE" sz="900" b="0" i="0" strike="sng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Bryant Regular"/>
                        <a:cs typeface="Bryant Regular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900" i="0" dirty="0">
                          <a:solidFill>
                            <a:schemeClr val="tx1"/>
                          </a:solidFill>
                          <a:latin typeface="+mn-lt"/>
                        </a:rPr>
                        <a:t>1 Få behandling inom tid som anges i standardiserade vårdförlopp</a:t>
                      </a:r>
                      <a:r>
                        <a:rPr lang="sv-SE" sz="900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lungcancer</a:t>
                      </a:r>
                      <a:r>
                        <a:rPr lang="sv-SE" sz="900" i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900" i="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  <a:r>
                        <a:rPr lang="sv-SE" sz="900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sv-SE" sz="900" i="0" dirty="0">
                          <a:solidFill>
                            <a:schemeClr val="tx1"/>
                          </a:solidFill>
                          <a:latin typeface="+mn-lt"/>
                        </a:rPr>
                        <a:t>Erbjudas diagnostik och behandling enligt Best </a:t>
                      </a:r>
                      <a:r>
                        <a:rPr lang="sv-SE" sz="900" i="0" dirty="0" err="1">
                          <a:solidFill>
                            <a:schemeClr val="tx1"/>
                          </a:solidFill>
                          <a:latin typeface="+mn-lt"/>
                        </a:rPr>
                        <a:t>practice</a:t>
                      </a:r>
                      <a:r>
                        <a:rPr lang="sv-SE" sz="900" i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900" i="0" dirty="0">
                          <a:solidFill>
                            <a:schemeClr val="tx1"/>
                          </a:solidFill>
                          <a:latin typeface="+mn-lt"/>
                        </a:rPr>
                        <a:t>3. Vara välinformerade och delaktiga genom hela vårdkedjan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900" i="0" dirty="0">
                          <a:solidFill>
                            <a:schemeClr val="tx1"/>
                          </a:solidFill>
                          <a:latin typeface="+mn-lt"/>
                        </a:rPr>
                        <a:t>4. Få lika god </a:t>
                      </a:r>
                      <a:r>
                        <a:rPr lang="sv-SE" sz="900" i="0" dirty="0">
                          <a:solidFill>
                            <a:schemeClr val="accent1"/>
                          </a:solidFill>
                          <a:latin typeface="+mn-lt"/>
                        </a:rPr>
                        <a:t>palliativ</a:t>
                      </a:r>
                      <a:r>
                        <a:rPr lang="sv-SE" sz="900" i="0" dirty="0">
                          <a:solidFill>
                            <a:schemeClr val="tx1"/>
                          </a:solidFill>
                          <a:latin typeface="+mn-lt"/>
                        </a:rPr>
                        <a:t> vård oavsett bostadsort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900" i="0" dirty="0">
                          <a:solidFill>
                            <a:schemeClr val="tx1"/>
                          </a:solidFill>
                          <a:latin typeface="+mn-lt"/>
                        </a:rPr>
                        <a:t>5. Erbjudas bästa möjliga hälsofrämjande insatser och välfungerande screeningprogram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900" i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900" i="0" dirty="0">
                          <a:solidFill>
                            <a:schemeClr val="tx1"/>
                          </a:solidFill>
                          <a:latin typeface="+mn-lt"/>
                        </a:rPr>
                        <a:t>6. Regionalt cancercentrum sydöst ska prioritera patientnära forskning inom cancerområdet</a:t>
                      </a:r>
                      <a:endParaRPr lang="sv-SE" sz="900" i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sv-SE" sz="9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900" i="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PET kapaciteten </a:t>
                      </a:r>
                      <a:r>
                        <a:rPr lang="sv-SE" sz="9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ör undermålig i delar av sydöstra regionen (Östergötland</a:t>
                      </a:r>
                      <a:r>
                        <a:rPr lang="sv-SE" sz="9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och Kalmar)</a:t>
                      </a: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iden för </a:t>
                      </a:r>
                      <a:r>
                        <a:rPr lang="sv-SE" sz="900" i="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molekylärpatologi</a:t>
                      </a:r>
                      <a:r>
                        <a:rPr lang="sv-SE" sz="9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är för lång. Tiden för vanlig patologisvar är för lång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PO påtalar att  frågorna behöver lyftas till samverkansnämnd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 Kontinuerligt regionala</a:t>
                      </a:r>
                      <a:r>
                        <a:rPr lang="sv-SE" sz="9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npassning av nationella vårdprogrammet lungcancer </a:t>
                      </a:r>
                      <a:r>
                        <a:rPr lang="sv-SE" sz="9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utfört okt 2023-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öljer vårdprogram. NVP från juli 2023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 Implementera </a:t>
                      </a:r>
                      <a:r>
                        <a:rPr lang="sv-SE" sz="900" i="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min vårdplan </a:t>
                      </a:r>
                      <a:r>
                        <a:rPr lang="sv-SE" sz="9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 papper eller digital form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VF data talar för att det finns förbättring</a:t>
                      </a:r>
                      <a:r>
                        <a:rPr lang="sv-SE" sz="9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otential i delaktighet </a:t>
                      </a: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 – Ojämlik</a:t>
                      </a:r>
                      <a:r>
                        <a:rPr lang="sv-SE" sz="9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tillgång och i kvalitet till palliativ vård har identifierats. Lokal variation beroende på bostadsort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A Cancerrehabilitering   checklista </a:t>
                      </a:r>
                      <a:r>
                        <a:rPr lang="sv-SE" sz="900" i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mplemnetad</a:t>
                      </a: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sv-SE" sz="9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 </a:t>
                      </a:r>
                      <a:r>
                        <a:rPr lang="sv-SE" sz="9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ungcancer  screening pilotprojekt pågår i Sverige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ad kan vi göra i SÖ? Pågår studie i Sthlm Planeras studier i VG o Norrbotte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  Flera</a:t>
                      </a:r>
                      <a:r>
                        <a:rPr lang="sv-SE" sz="9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läkemedelsstudier bedrivs. Fler patienter i regionen utanför Linköping bör erbjudas deltagande </a:t>
                      </a: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 b="1" i="1" dirty="0">
                          <a:solidFill>
                            <a:srgbClr val="FF0000"/>
                          </a:solidFill>
                          <a:latin typeface="+mn-lt"/>
                        </a:rPr>
                        <a:t>Uppföljning:</a:t>
                      </a:r>
                      <a:r>
                        <a:rPr lang="sv-SE" sz="900" i="1" dirty="0">
                          <a:solidFill>
                            <a:srgbClr val="FF0000"/>
                          </a:solidFill>
                          <a:latin typeface="+mn-lt"/>
                        </a:rPr>
                        <a:t> ange metod, kvalitetsindikatorer, </a:t>
                      </a:r>
                      <a:r>
                        <a:rPr lang="sv-SE" sz="900" i="1" dirty="0" err="1">
                          <a:solidFill>
                            <a:srgbClr val="FF0000"/>
                          </a:solidFill>
                          <a:latin typeface="+mn-lt"/>
                        </a:rPr>
                        <a:t>målvärden</a:t>
                      </a:r>
                      <a:r>
                        <a:rPr lang="sv-SE" sz="900" i="1" dirty="0">
                          <a:solidFill>
                            <a:srgbClr val="FF0000"/>
                          </a:solidFill>
                          <a:latin typeface="+mn-lt"/>
                        </a:rPr>
                        <a:t> och resulta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900" i="0" dirty="0">
                        <a:latin typeface="+mn-lt"/>
                      </a:endParaRPr>
                    </a:p>
                    <a:p>
                      <a:r>
                        <a:rPr lang="sv-SE" sz="900" i="0" dirty="0">
                          <a:latin typeface="+mn-lt"/>
                        </a:rPr>
                        <a:t>1 </a:t>
                      </a:r>
                      <a:r>
                        <a:rPr lang="sv-SE" sz="900" i="0" dirty="0">
                          <a:solidFill>
                            <a:schemeClr val="bg2"/>
                          </a:solidFill>
                          <a:latin typeface="+mn-lt"/>
                        </a:rPr>
                        <a:t>Mätning sker via SVF och INCA.</a:t>
                      </a:r>
                      <a:r>
                        <a:rPr lang="sv-SE" sz="900" i="0" baseline="0" dirty="0">
                          <a:solidFill>
                            <a:schemeClr val="bg2"/>
                          </a:solidFill>
                          <a:latin typeface="+mn-lt"/>
                        </a:rPr>
                        <a:t> </a:t>
                      </a:r>
                    </a:p>
                    <a:p>
                      <a:r>
                        <a:rPr lang="sv-SE" sz="900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Målvärde Nå rikssnitt för ledtider med bibehållen kvalitet.</a:t>
                      </a: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r>
                        <a:rPr lang="sv-SE" sz="900" i="0" dirty="0">
                          <a:solidFill>
                            <a:schemeClr val="tx1"/>
                          </a:solidFill>
                          <a:latin typeface="+mn-lt"/>
                        </a:rPr>
                        <a:t> PET </a:t>
                      </a:r>
                      <a:r>
                        <a:rPr lang="sv-SE" sz="900" i="0" dirty="0" err="1">
                          <a:solidFill>
                            <a:schemeClr val="tx1"/>
                          </a:solidFill>
                          <a:latin typeface="+mn-lt"/>
                        </a:rPr>
                        <a:t>Ct</a:t>
                      </a:r>
                      <a:r>
                        <a:rPr lang="sv-SE" sz="900" i="0" dirty="0">
                          <a:solidFill>
                            <a:schemeClr val="tx1"/>
                          </a:solidFill>
                          <a:latin typeface="+mn-lt"/>
                        </a:rPr>
                        <a:t> blir i  Kalmar 2026</a:t>
                      </a:r>
                      <a:r>
                        <a:rPr lang="sv-SE" sz="900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sv-SE" sz="900" i="0" baseline="0" dirty="0" err="1">
                          <a:solidFill>
                            <a:schemeClr val="tx1"/>
                          </a:solidFill>
                          <a:latin typeface="+mn-lt"/>
                        </a:rPr>
                        <a:t>enl</a:t>
                      </a:r>
                      <a:r>
                        <a:rPr lang="sv-SE" sz="900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besked KR maj 2023</a:t>
                      </a:r>
                      <a:r>
                        <a:rPr lang="sv-SE" sz="900" i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sv-SE" sz="900" i="0" strike="sngStrike" dirty="0">
                          <a:solidFill>
                            <a:schemeClr val="tx1"/>
                          </a:solidFill>
                          <a:latin typeface="+mn-lt"/>
                        </a:rPr>
                        <a:t>  </a:t>
                      </a:r>
                      <a:r>
                        <a:rPr lang="sv-SE" sz="900" i="0" strike="sng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sv-SE" sz="9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ET</a:t>
                      </a:r>
                      <a:r>
                        <a:rPr lang="sv-SE" sz="9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nr 2 på US?</a:t>
                      </a:r>
                      <a:r>
                        <a:rPr lang="sv-SE" sz="900" i="0" dirty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  <a:r>
                        <a:rPr lang="sv-SE" sz="900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När?</a:t>
                      </a:r>
                      <a:br>
                        <a:rPr lang="sv-SE" sz="900" i="0" baseline="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sv-SE" sz="900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Molekylär pat. Kan vi arbeta på annat sätt? Regional lungcancermöte Nässjö 16 okt: Kalmar arbetar med parallell NGS analys för DNA RNA  parallellt istället för sekventiellt. Ökad kostnad? Kortare ledtid genom att arbeta mer individuellt med svar på mol patologi?</a:t>
                      </a:r>
                    </a:p>
                    <a:p>
                      <a:r>
                        <a:rPr lang="sv-SE" sz="9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ur arbetar vi generellt</a:t>
                      </a:r>
                      <a:r>
                        <a:rPr lang="sv-SE" sz="9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med </a:t>
                      </a:r>
                      <a:r>
                        <a:rPr lang="sv-SE" sz="9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edtider?</a:t>
                      </a:r>
                    </a:p>
                    <a:p>
                      <a:r>
                        <a:rPr lang="sv-SE" sz="9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öte SÖSR (RCC) 16 okt Nässjö med fokus på ledtider</a:t>
                      </a:r>
                      <a:endParaRPr lang="sv-SE" sz="9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endParaRPr lang="sv-SE" sz="900" i="0" dirty="0">
                        <a:latin typeface="+mn-lt"/>
                      </a:endParaRPr>
                    </a:p>
                    <a:p>
                      <a:r>
                        <a:rPr lang="sv-SE" sz="900" i="0" dirty="0">
                          <a:latin typeface="+mn-lt"/>
                        </a:rPr>
                        <a:t>2 INCA data inkl. IPÖ.</a:t>
                      </a:r>
                      <a:r>
                        <a:rPr lang="sv-SE" sz="900" i="0" baseline="0" dirty="0">
                          <a:latin typeface="+mn-lt"/>
                        </a:rPr>
                        <a:t> </a:t>
                      </a:r>
                      <a:r>
                        <a:rPr lang="sv-SE" sz="900" i="0" dirty="0">
                          <a:latin typeface="+mn-lt"/>
                        </a:rPr>
                        <a:t> Vi följer</a:t>
                      </a:r>
                      <a:r>
                        <a:rPr lang="sv-SE" sz="900" i="0" baseline="0" dirty="0">
                          <a:latin typeface="+mn-lt"/>
                        </a:rPr>
                        <a:t> kvalitetsindikatorer och överlevnad </a:t>
                      </a:r>
                      <a:r>
                        <a:rPr lang="sv-SE" sz="900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kontinuerligt. Inrapporteringstakt är sen vilket försvårar översikt i realtid?  </a:t>
                      </a:r>
                    </a:p>
                    <a:p>
                      <a:r>
                        <a:rPr lang="sv-SE" sz="900" i="0" baseline="0" dirty="0">
                          <a:latin typeface="+mn-lt"/>
                        </a:rPr>
                        <a:t>RAG lungcancer återrapporterar till RPO lungmedicin </a:t>
                      </a:r>
                    </a:p>
                    <a:p>
                      <a:r>
                        <a:rPr lang="sv-SE" sz="900" i="0" baseline="0" dirty="0">
                          <a:latin typeface="+mn-lt"/>
                        </a:rPr>
                        <a:t>Uppdatering regional av färsk vårdprogram nov 2023 med genomgång på regi9onall RCC möte 16 okt Nässjö</a:t>
                      </a:r>
                    </a:p>
                    <a:p>
                      <a:endParaRPr lang="sv-SE" sz="900" i="0" baseline="0" dirty="0">
                        <a:latin typeface="+mn-lt"/>
                      </a:endParaRPr>
                    </a:p>
                    <a:p>
                      <a:endParaRPr lang="sv-SE" sz="900" i="0" baseline="0" dirty="0">
                        <a:latin typeface="+mn-lt"/>
                      </a:endParaRPr>
                    </a:p>
                    <a:p>
                      <a:r>
                        <a:rPr lang="sv-SE" sz="900" i="0" baseline="0" dirty="0">
                          <a:latin typeface="+mn-lt"/>
                        </a:rPr>
                        <a:t>3 Mäta och implementera min vårdplan sker å bred front i SÖ</a:t>
                      </a:r>
                    </a:p>
                    <a:p>
                      <a:endParaRPr lang="sv-SE" sz="900" i="0" baseline="0" dirty="0">
                        <a:latin typeface="+mn-lt"/>
                      </a:endParaRPr>
                    </a:p>
                    <a:p>
                      <a:endParaRPr lang="sv-SE" sz="900" i="0" baseline="0" dirty="0">
                        <a:latin typeface="+mn-lt"/>
                      </a:endParaRPr>
                    </a:p>
                    <a:p>
                      <a:r>
                        <a:rPr lang="sv-SE" sz="900" i="0" baseline="0" dirty="0">
                          <a:latin typeface="+mn-lt"/>
                        </a:rPr>
                        <a:t>4 -?</a:t>
                      </a:r>
                    </a:p>
                    <a:p>
                      <a:pPr marL="0" indent="0">
                        <a:buNone/>
                      </a:pPr>
                      <a:endParaRPr lang="sv-SE" sz="900" i="0" baseline="0" dirty="0">
                        <a:latin typeface="+mn-lt"/>
                      </a:endParaRPr>
                    </a:p>
                    <a:p>
                      <a:pPr marL="0" indent="0">
                        <a:buNone/>
                      </a:pPr>
                      <a:endParaRPr lang="sv-SE" sz="900" i="0" baseline="0" dirty="0">
                        <a:latin typeface="+mn-lt"/>
                      </a:endParaRPr>
                    </a:p>
                    <a:p>
                      <a:pPr marL="0" indent="0">
                        <a:buNone/>
                      </a:pPr>
                      <a:r>
                        <a:rPr lang="sv-SE" sz="900" i="0" baseline="0" dirty="0">
                          <a:latin typeface="+mn-lt"/>
                        </a:rPr>
                        <a:t>5 A   Mkt hög användning Planeras genomgång av </a:t>
                      </a:r>
                      <a:r>
                        <a:rPr lang="sv-SE" sz="900" i="0" baseline="0" dirty="0" err="1">
                          <a:latin typeface="+mn-lt"/>
                        </a:rPr>
                        <a:t>prerehabiltering</a:t>
                      </a:r>
                      <a:r>
                        <a:rPr lang="sv-SE" sz="900" i="0" baseline="0" dirty="0">
                          <a:latin typeface="+mn-lt"/>
                        </a:rPr>
                        <a:t> inför </a:t>
                      </a:r>
                      <a:r>
                        <a:rPr lang="sv-SE" sz="900" i="0" baseline="0" dirty="0" err="1">
                          <a:latin typeface="+mn-lt"/>
                        </a:rPr>
                        <a:t>op</a:t>
                      </a:r>
                      <a:endParaRPr lang="sv-SE" sz="900" i="0" baseline="0" dirty="0">
                        <a:latin typeface="+mn-lt"/>
                      </a:endParaRPr>
                    </a:p>
                    <a:p>
                      <a:pPr marL="0" indent="0">
                        <a:buNone/>
                      </a:pPr>
                      <a:r>
                        <a:rPr lang="sv-SE" sz="900" i="0" baseline="0" dirty="0">
                          <a:latin typeface="+mn-lt"/>
                        </a:rPr>
                        <a:t>5 B  RAG lungcancer tillsammans med RCC påbörjar förberedande arbete kring screening . Möte planerat vintern 2023/24</a:t>
                      </a:r>
                    </a:p>
                    <a:p>
                      <a:pPr marL="0" indent="0">
                        <a:buNone/>
                      </a:pPr>
                      <a:endParaRPr lang="sv-SE" sz="900" i="0" baseline="0" dirty="0">
                        <a:latin typeface="+mn-lt"/>
                      </a:endParaRPr>
                    </a:p>
                    <a:p>
                      <a:pPr marL="0" indent="0">
                        <a:buNone/>
                      </a:pPr>
                      <a:endParaRPr lang="sv-SE" sz="900" i="0" baseline="0" dirty="0">
                        <a:latin typeface="+mn-lt"/>
                      </a:endParaRPr>
                    </a:p>
                    <a:p>
                      <a:pPr marL="0" indent="0">
                        <a:buNone/>
                      </a:pPr>
                      <a:endParaRPr lang="sv-SE" sz="900" i="0" baseline="0" dirty="0">
                        <a:latin typeface="+mn-lt"/>
                      </a:endParaRPr>
                    </a:p>
                    <a:p>
                      <a:pPr marL="0" indent="0">
                        <a:buNone/>
                      </a:pPr>
                      <a:r>
                        <a:rPr lang="sv-SE" sz="900" i="0" baseline="0" dirty="0">
                          <a:latin typeface="+mn-lt"/>
                        </a:rPr>
                        <a:t>6 </a:t>
                      </a:r>
                      <a:r>
                        <a:rPr lang="sv-SE" sz="900" i="0" baseline="0" dirty="0" err="1">
                          <a:latin typeface="+mn-lt"/>
                        </a:rPr>
                        <a:t>Reg</a:t>
                      </a:r>
                      <a:r>
                        <a:rPr lang="sv-SE" sz="900" i="0" baseline="0" dirty="0">
                          <a:latin typeface="+mn-lt"/>
                        </a:rPr>
                        <a:t> lungcancermöte RCC Genom av studier inom lungcancer Öka takten med såväl akademiska studier  samt lm forskning enligt ” Nässjöavtal” gemensam FOU </a:t>
                      </a:r>
                      <a:r>
                        <a:rPr lang="sv-SE" sz="900" i="0" baseline="0" dirty="0" err="1">
                          <a:latin typeface="+mn-lt"/>
                        </a:rPr>
                        <a:t>ssk</a:t>
                      </a:r>
                      <a:r>
                        <a:rPr lang="sv-SE" sz="900" i="0" baseline="0" dirty="0">
                          <a:latin typeface="+mn-lt"/>
                        </a:rPr>
                        <a:t> SÖ </a:t>
                      </a:r>
                    </a:p>
                    <a:p>
                      <a:pPr marL="0" indent="0">
                        <a:buNone/>
                      </a:pPr>
                      <a:r>
                        <a:rPr lang="sv-SE" sz="900" i="0" baseline="0" dirty="0">
                          <a:solidFill>
                            <a:schemeClr val="bg2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0" indent="0">
                        <a:buNone/>
                      </a:pPr>
                      <a:endParaRPr lang="sv-SE" sz="900" i="0" strike="noStrike" baseline="0" dirty="0">
                        <a:latin typeface="+mn-lt"/>
                      </a:endParaRPr>
                    </a:p>
                    <a:p>
                      <a:pPr marL="0" indent="0">
                        <a:buNone/>
                      </a:pPr>
                      <a:r>
                        <a:rPr lang="sv-SE" sz="900" i="0" strike="noStrike" baseline="0" dirty="0">
                          <a:solidFill>
                            <a:schemeClr val="bg2"/>
                          </a:solidFill>
                          <a:latin typeface="+mn-lt"/>
                        </a:rPr>
                        <a:t>      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86987">
                <a:tc>
                  <a:txBody>
                    <a:bodyPr/>
                    <a:lstStyle/>
                    <a:p>
                      <a:endParaRPr lang="sv-SE" sz="1400" b="1" i="0" dirty="0">
                        <a:latin typeface="+mj-lt"/>
                      </a:endParaRPr>
                    </a:p>
                    <a:p>
                      <a:endParaRPr lang="sv-SE" sz="1400" b="1" i="0" dirty="0">
                        <a:latin typeface="+mj-lt"/>
                      </a:endParaRPr>
                    </a:p>
                    <a:p>
                      <a:endParaRPr lang="sv-SE" sz="1400" b="1" i="0" dirty="0">
                        <a:latin typeface="+mj-lt"/>
                      </a:endParaRPr>
                    </a:p>
                    <a:p>
                      <a:endParaRPr lang="sv-SE" sz="1400" b="1" i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i="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41206">
                <a:tc>
                  <a:txBody>
                    <a:bodyPr/>
                    <a:lstStyle/>
                    <a:p>
                      <a:endParaRPr lang="sv-SE" sz="1400" b="1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400" b="1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400" b="1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/>
                      <a:endParaRPr lang="sv-SE" sz="1200" b="0" i="0" baseline="0" dirty="0">
                        <a:latin typeface="+mn-lt"/>
                      </a:endParaRPr>
                    </a:p>
                    <a:p>
                      <a:pPr lvl="0"/>
                      <a:endParaRPr lang="sv-SE" sz="1200" b="0" i="0" baseline="0" dirty="0">
                        <a:latin typeface="+mn-lt"/>
                      </a:endParaRPr>
                    </a:p>
                    <a:p>
                      <a:pPr lvl="0"/>
                      <a:endParaRPr lang="sv-SE" sz="1200" b="0" i="0" baseline="0" dirty="0"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13" name="Bildobjekt 12">
            <a:extLst>
              <a:ext uri="{FF2B5EF4-FFF2-40B4-BE49-F238E27FC236}">
                <a16:creationId xmlns:a16="http://schemas.microsoft.com/office/drawing/2014/main" id="{03763D5D-F032-4D07-8D9F-D3665E0AFE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81124" y="2534718"/>
            <a:ext cx="292633" cy="292633"/>
          </a:xfrm>
          <a:prstGeom prst="rect">
            <a:avLst/>
          </a:prstGeom>
        </p:spPr>
      </p:pic>
      <p:sp>
        <p:nvSpPr>
          <p:cNvPr id="15" name="Ellips 14">
            <a:extLst>
              <a:ext uri="{FF2B5EF4-FFF2-40B4-BE49-F238E27FC236}">
                <a16:creationId xmlns:a16="http://schemas.microsoft.com/office/drawing/2014/main" id="{F9E0E387-88B7-4764-8E71-B75C9B140AFA}"/>
              </a:ext>
            </a:extLst>
          </p:cNvPr>
          <p:cNvSpPr/>
          <p:nvPr/>
        </p:nvSpPr>
        <p:spPr>
          <a:xfrm>
            <a:off x="11597862" y="1365392"/>
            <a:ext cx="294593" cy="28803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7" name="Bildobjekt 26">
            <a:extLst>
              <a:ext uri="{FF2B5EF4-FFF2-40B4-BE49-F238E27FC236}">
                <a16:creationId xmlns:a16="http://schemas.microsoft.com/office/drawing/2014/main" id="{DCAA1C31-8265-4838-A937-BC56BDB88C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7245" y="7418899"/>
            <a:ext cx="254000" cy="266700"/>
          </a:xfrm>
          <a:prstGeom prst="rect">
            <a:avLst/>
          </a:prstGeom>
        </p:spPr>
      </p:pic>
      <p:sp>
        <p:nvSpPr>
          <p:cNvPr id="8" name="Ellips 7">
            <a:extLst>
              <a:ext uri="{FF2B5EF4-FFF2-40B4-BE49-F238E27FC236}">
                <a16:creationId xmlns:a16="http://schemas.microsoft.com/office/drawing/2014/main" id="{F9E0E387-88B7-4764-8E71-B75C9B140AFA}"/>
              </a:ext>
            </a:extLst>
          </p:cNvPr>
          <p:cNvSpPr/>
          <p:nvPr/>
        </p:nvSpPr>
        <p:spPr>
          <a:xfrm rot="786502">
            <a:off x="11509948" y="4241697"/>
            <a:ext cx="294593" cy="28803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Ellips 10">
            <a:extLst>
              <a:ext uri="{FF2B5EF4-FFF2-40B4-BE49-F238E27FC236}">
                <a16:creationId xmlns:a16="http://schemas.microsoft.com/office/drawing/2014/main" id="{AF690098-DE82-4CAB-BE56-36080F749972}"/>
              </a:ext>
            </a:extLst>
          </p:cNvPr>
          <p:cNvSpPr/>
          <p:nvPr/>
        </p:nvSpPr>
        <p:spPr>
          <a:xfrm flipV="1">
            <a:off x="11452525" y="1363091"/>
            <a:ext cx="292633" cy="292634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03763D5D-F032-4D07-8D9F-D3665E0AFE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07613" y="3752007"/>
            <a:ext cx="292633" cy="292633"/>
          </a:xfrm>
          <a:prstGeom prst="rect">
            <a:avLst/>
          </a:prstGeom>
        </p:spPr>
      </p:pic>
      <p:pic>
        <p:nvPicPr>
          <p:cNvPr id="16" name="Bildobjekt 15">
            <a:extLst>
              <a:ext uri="{FF2B5EF4-FFF2-40B4-BE49-F238E27FC236}">
                <a16:creationId xmlns:a16="http://schemas.microsoft.com/office/drawing/2014/main" id="{03763D5D-F032-4D07-8D9F-D3665E0AFE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22227" y="4797077"/>
            <a:ext cx="292633" cy="292633"/>
          </a:xfrm>
          <a:prstGeom prst="rect">
            <a:avLst/>
          </a:prstGeom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id="{03763D5D-F032-4D07-8D9F-D3665E0AFE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529180" flipV="1">
            <a:off x="11520517" y="5868372"/>
            <a:ext cx="316168" cy="305962"/>
          </a:xfrm>
          <a:prstGeom prst="rect">
            <a:avLst/>
          </a:prstGeom>
        </p:spPr>
      </p:pic>
      <p:sp>
        <p:nvSpPr>
          <p:cNvPr id="19" name="Ellips 18">
            <a:extLst>
              <a:ext uri="{FF2B5EF4-FFF2-40B4-BE49-F238E27FC236}">
                <a16:creationId xmlns:a16="http://schemas.microsoft.com/office/drawing/2014/main" id="{F9E0E387-88B7-4764-8E71-B75C9B140AFA}"/>
              </a:ext>
            </a:extLst>
          </p:cNvPr>
          <p:cNvSpPr/>
          <p:nvPr/>
        </p:nvSpPr>
        <p:spPr>
          <a:xfrm>
            <a:off x="11507613" y="5202653"/>
            <a:ext cx="307247" cy="31321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Ellips 13">
            <a:extLst>
              <a:ext uri="{FF2B5EF4-FFF2-40B4-BE49-F238E27FC236}">
                <a16:creationId xmlns:a16="http://schemas.microsoft.com/office/drawing/2014/main" id="{AF690098-DE82-4CAB-BE56-36080F749972}"/>
              </a:ext>
            </a:extLst>
          </p:cNvPr>
          <p:cNvSpPr/>
          <p:nvPr/>
        </p:nvSpPr>
        <p:spPr>
          <a:xfrm flipV="1">
            <a:off x="11758085" y="5202653"/>
            <a:ext cx="306320" cy="31321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30794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8461569"/>
              </p:ext>
            </p:extLst>
          </p:nvPr>
        </p:nvGraphicFramePr>
        <p:xfrm>
          <a:off x="0" y="434109"/>
          <a:ext cx="12191999" cy="8773823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44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341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i="0" dirty="0">
                          <a:solidFill>
                            <a:schemeClr val="bg1"/>
                          </a:solidFill>
                          <a:latin typeface="+mn-lt"/>
                        </a:rPr>
                        <a:t>ange metod, kvalitetsindikatorer, </a:t>
                      </a:r>
                      <a:r>
                        <a:rPr lang="sv-SE" sz="1050" i="0" dirty="0" err="1">
                          <a:solidFill>
                            <a:schemeClr val="bg1"/>
                          </a:solidFill>
                          <a:latin typeface="+mn-lt"/>
                        </a:rPr>
                        <a:t>målvärden</a:t>
                      </a:r>
                      <a:r>
                        <a:rPr lang="sv-SE" sz="1050" i="0" dirty="0">
                          <a:solidFill>
                            <a:schemeClr val="bg1"/>
                          </a:solidFill>
                          <a:latin typeface="+mn-lt"/>
                        </a:rPr>
                        <a:t> och resulta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66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0" strike="noStrike" kern="120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KOL</a:t>
                      </a:r>
                    </a:p>
                    <a:p>
                      <a:pPr algn="l"/>
                      <a:r>
                        <a:rPr lang="sv-SE" sz="800" b="0" i="1" strike="sngStrike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 </a:t>
                      </a:r>
                      <a:endParaRPr lang="sv-SE" sz="800" strike="sngStrike" dirty="0">
                        <a:solidFill>
                          <a:srgbClr val="393939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strike="sng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Bryant Regular"/>
                          <a:cs typeface="Bryant Regular"/>
                        </a:rPr>
                        <a:t> </a:t>
                      </a:r>
                      <a:endParaRPr lang="sv-SE" sz="1300" strike="sngStrike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strike="sng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strike="sng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AG KOL vilande /ej uppstartad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rågan bordlagd 230921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300" dirty="0">
                          <a:latin typeface="+mj-lt"/>
                        </a:rPr>
                        <a:t>Vilande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79490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ungfibros</a:t>
                      </a:r>
                    </a:p>
                    <a:p>
                      <a:pPr algn="l"/>
                      <a:r>
                        <a:rPr lang="sv-SE" sz="600" b="0" i="1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Som patient i Sydöstra sjukvårdsregionen ska du; </a:t>
                      </a:r>
                    </a:p>
                    <a:p>
                      <a:pPr lvl="1">
                        <a:buFont typeface="Arial" panose="020B0604020202020204" pitchFamily="34" charset="0"/>
                        <a:buChar char="•"/>
                      </a:pPr>
                      <a:r>
                        <a:rPr lang="sv-SE" sz="600" b="0" i="1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erbjudas vård som är lätt tillgänglig för kontakt, bedömning och besök</a:t>
                      </a:r>
                    </a:p>
                    <a:p>
                      <a:pPr lvl="1">
                        <a:buFont typeface="Arial" panose="020B0604020202020204" pitchFamily="34" charset="0"/>
                        <a:buChar char="•"/>
                      </a:pPr>
                      <a:r>
                        <a:rPr lang="sv-SE" sz="600" b="0" i="1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erbjudas diagnostik och behandling och uppföljning enligt bästa kunskap i varje möte</a:t>
                      </a:r>
                    </a:p>
                    <a:p>
                      <a:pPr lvl="1">
                        <a:buFont typeface="Arial" panose="020B0604020202020204" pitchFamily="34" charset="0"/>
                        <a:buChar char="•"/>
                      </a:pPr>
                      <a:r>
                        <a:rPr lang="sv-SE" sz="600" b="0" i="1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vara delaktig och välinformerad genom hela vårdkedjan</a:t>
                      </a:r>
                    </a:p>
                    <a:p>
                      <a:pPr lvl="1">
                        <a:buFont typeface="Arial" panose="020B0604020202020204" pitchFamily="34" charset="0"/>
                        <a:buChar char="•"/>
                      </a:pPr>
                      <a:r>
                        <a:rPr lang="sv-SE" sz="600" b="0" i="1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få tillgång till jämlik vård</a:t>
                      </a:r>
                    </a:p>
                    <a:p>
                      <a:pPr lvl="1">
                        <a:buFont typeface="Arial" panose="020B0604020202020204" pitchFamily="34" charset="0"/>
                        <a:buChar char="•"/>
                      </a:pPr>
                      <a:r>
                        <a:rPr lang="sv-SE" sz="600" b="0" i="1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erbjudas bästa möjliga hälsofrämjande insatser och välfungerande screeningprogram</a:t>
                      </a:r>
                    </a:p>
                    <a:p>
                      <a:pPr lvl="1">
                        <a:buFont typeface="Arial" panose="020B0604020202020204" pitchFamily="34" charset="0"/>
                        <a:buChar char="•"/>
                      </a:pPr>
                      <a:r>
                        <a:rPr lang="sv-SE" sz="600" b="0" i="1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få tillgång till patientsäker vård</a:t>
                      </a:r>
                    </a:p>
                    <a:p>
                      <a:pPr lvl="1">
                        <a:buFont typeface="Arial" panose="020B0604020202020204" pitchFamily="34" charset="0"/>
                        <a:buChar char="•"/>
                      </a:pPr>
                      <a:r>
                        <a:rPr lang="sv-SE" sz="600" b="0" i="1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erbjudas kostnadseffektiv vård</a:t>
                      </a:r>
                    </a:p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endParaRPr lang="sv-SE" sz="800" dirty="0">
                        <a:solidFill>
                          <a:srgbClr val="393939"/>
                        </a:solidFill>
                        <a:latin typeface="Graphik"/>
                      </a:endParaRPr>
                    </a:p>
                    <a:p>
                      <a:endParaRPr lang="sv-SE" sz="1300" b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2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Uppdraget är att arbeta fram ett vårdförlopp för lungfibros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2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Det inleds när en patient uppvisar symtom på </a:t>
                      </a:r>
                      <a:r>
                        <a:rPr lang="sv-SE" sz="1200" dirty="0" err="1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nterstitiell</a:t>
                      </a:r>
                      <a:r>
                        <a:rPr lang="sv-SE" sz="12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sjukdom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2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I vårdförloppet ingår utredning, diagnos, behandling och uppföljning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2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Vårdförlopp</a:t>
                      </a:r>
                      <a:r>
                        <a:rPr lang="sv-SE" sz="1200" baseline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NAG lungfibros går ut på remiss 15 nov 2023</a:t>
                      </a:r>
                      <a:endParaRPr lang="sv-SE" sz="120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mplementera</a:t>
                      </a: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NAG lungfibros arbet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 avvaktan på NAG lungfibros resultat upprätta strukturerad ILD mottagning inom alla län i regionen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tagningsmall och gemensam  mall för checklistor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gional ILD rond ht 2023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udiebesök genomfört lungkliniken US (17 maj)</a:t>
                      </a: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AG lungfibros blir klart under ht 2023</a:t>
                      </a: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DK regional startat</a:t>
                      </a:r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21 okt 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3</a:t>
                      </a: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ur mäter vi? Registerdeltagande i regionen?  KBILD?</a:t>
                      </a: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mensam reuma </a:t>
                      </a:r>
                      <a:r>
                        <a:rPr lang="sv-SE" sz="1200" b="0" i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ung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ond JKPG  </a:t>
                      </a: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mensamma mallar för</a:t>
                      </a:r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rovtagnings pågår.</a:t>
                      </a:r>
                    </a:p>
                    <a:p>
                      <a:endParaRPr lang="sv-SE" sz="1200" b="0" i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ur följer vi upp?  Öka registerdeltagande 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27653">
                <a:tc>
                  <a:txBody>
                    <a:bodyPr/>
                    <a:lstStyle/>
                    <a:p>
                      <a:r>
                        <a:rPr lang="sv-SE" sz="12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lergi</a:t>
                      </a:r>
                    </a:p>
                    <a:p>
                      <a:pPr algn="l"/>
                      <a:r>
                        <a:rPr lang="sv-SE" sz="600" b="0" i="1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Som patient i Sydöstra sjukvårdsregionen ska du; </a:t>
                      </a:r>
                    </a:p>
                    <a:p>
                      <a:pPr lvl="1">
                        <a:buFont typeface="Arial" panose="020B0604020202020204" pitchFamily="34" charset="0"/>
                        <a:buChar char="•"/>
                      </a:pPr>
                      <a:r>
                        <a:rPr lang="sv-SE" sz="600" b="0" i="1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erbjudas vård som är lätt tillgänglig för kontakt, bedömning och besök</a:t>
                      </a:r>
                    </a:p>
                    <a:p>
                      <a:pPr lvl="1">
                        <a:buFont typeface="Arial" panose="020B0604020202020204" pitchFamily="34" charset="0"/>
                        <a:buChar char="•"/>
                      </a:pPr>
                      <a:r>
                        <a:rPr lang="sv-SE" sz="600" b="0" i="1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erbjudas diagnostik och behandling och uppföljning enligt bästa kunskap i varje möte</a:t>
                      </a:r>
                    </a:p>
                    <a:p>
                      <a:pPr lvl="1">
                        <a:buFont typeface="Arial" panose="020B0604020202020204" pitchFamily="34" charset="0"/>
                        <a:buChar char="•"/>
                      </a:pPr>
                      <a:r>
                        <a:rPr lang="sv-SE" sz="600" b="0" i="1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vara delaktig och välinformerad genom hela vårdkedjan</a:t>
                      </a:r>
                    </a:p>
                    <a:p>
                      <a:pPr lvl="1">
                        <a:buFont typeface="Arial" panose="020B0604020202020204" pitchFamily="34" charset="0"/>
                        <a:buChar char="•"/>
                      </a:pPr>
                      <a:r>
                        <a:rPr lang="sv-SE" sz="600" b="0" i="1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få tillgång till jämlik vård</a:t>
                      </a:r>
                    </a:p>
                    <a:p>
                      <a:pPr lvl="1">
                        <a:buFont typeface="Arial" panose="020B0604020202020204" pitchFamily="34" charset="0"/>
                        <a:buChar char="•"/>
                      </a:pPr>
                      <a:r>
                        <a:rPr lang="sv-SE" sz="600" b="0" i="1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erbjudas bästa möjliga hälsofrämjande insatser och välfungerande screeningprogram</a:t>
                      </a:r>
                    </a:p>
                    <a:p>
                      <a:pPr lvl="1">
                        <a:buFont typeface="Arial" panose="020B0604020202020204" pitchFamily="34" charset="0"/>
                        <a:buChar char="•"/>
                      </a:pPr>
                      <a:r>
                        <a:rPr lang="sv-SE" sz="600" b="0" i="1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få tillgång till patientsäker vård</a:t>
                      </a:r>
                    </a:p>
                    <a:p>
                      <a:pPr lvl="1">
                        <a:buFont typeface="Arial" panose="020B0604020202020204" pitchFamily="34" charset="0"/>
                        <a:buChar char="•"/>
                      </a:pPr>
                      <a:r>
                        <a:rPr lang="sv-SE" sz="600" b="0" i="1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erbjudas kostnadseffektiv vård</a:t>
                      </a:r>
                    </a:p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endParaRPr lang="sv-SE" sz="700" dirty="0">
                        <a:solidFill>
                          <a:srgbClr val="393939"/>
                        </a:solidFill>
                        <a:latin typeface="Graphik"/>
                      </a:endParaRPr>
                    </a:p>
                    <a:p>
                      <a:endParaRPr lang="sv-SE" sz="1200" b="1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Svår astma (best </a:t>
                      </a:r>
                      <a:r>
                        <a:rPr lang="sv-SE" sz="1200" i="0" dirty="0" err="1">
                          <a:solidFill>
                            <a:schemeClr val="tx1"/>
                          </a:solidFill>
                          <a:latin typeface="+mn-lt"/>
                        </a:rPr>
                        <a:t>practice</a:t>
                      </a:r>
                      <a:r>
                        <a:rPr lang="sv-SE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sv-SE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sv-SE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sv-SE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sv-SE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Tillgänglighet till SLIT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NPO Matallergi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sv-SE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Läkemedelsallergi  (tillgänglighet)</a:t>
                      </a:r>
                    </a:p>
                    <a:p>
                      <a:pPr lvl="0"/>
                      <a:endParaRPr lang="sv-SE" sz="1200" b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a fram och implementera riktlinjer för biologisk läkemedelsbehandling vid svår astma </a:t>
                      </a: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fterforska möjlighet till SLIT inom primärvården.</a:t>
                      </a: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vänta NAG matallergi</a:t>
                      </a: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ll och information till primärvården </a:t>
                      </a:r>
                      <a:r>
                        <a:rPr lang="sv-SE" sz="1200" b="0" i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ng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lm allergi(Kalmar)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okument framtaget.</a:t>
                      </a: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2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mplementering</a:t>
                      </a: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pågår. 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förande</a:t>
                      </a: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av luftvägsregister på alla sjukhus där behandling sker med biologiska läkemedel.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0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ågår. Återkoppling via RAG allergi till RPO lungmedicin-allergi.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0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v </a:t>
                      </a:r>
                      <a:r>
                        <a:rPr lang="sv-SE" sz="1200" b="0" i="0" baseline="0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g</a:t>
                      </a: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?</a:t>
                      </a:r>
                      <a:endParaRPr lang="sv-SE" sz="1200" b="0" i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57712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sv-SE" sz="1200" b="0" i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0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21100">
                <a:tc>
                  <a:txBody>
                    <a:bodyPr/>
                    <a:lstStyle/>
                    <a:p>
                      <a:r>
                        <a:rPr lang="sv-SE" sz="1400" dirty="0"/>
                        <a:t>arbetet går enligt plan </a:t>
                      </a:r>
                      <a:endParaRPr lang="sv-SE" sz="1300" b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dirty="0"/>
                        <a:t>pågår med mindre problem </a:t>
                      </a:r>
                      <a:endParaRPr lang="sv-SE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dirty="0"/>
                        <a:t>har allvarliga problem </a:t>
                      </a: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dirty="0"/>
                        <a:t>avslutat</a:t>
                      </a: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7" name="Bildobjekt 6">
            <a:extLst>
              <a:ext uri="{FF2B5EF4-FFF2-40B4-BE49-F238E27FC236}">
                <a16:creationId xmlns:a16="http://schemas.microsoft.com/office/drawing/2014/main" id="{A492375A-F7CC-44DE-8990-FEA8FB40A3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766" y="7905578"/>
            <a:ext cx="292633" cy="292633"/>
          </a:xfrm>
          <a:prstGeom prst="rect">
            <a:avLst/>
          </a:prstGeom>
        </p:spPr>
      </p:pic>
      <p:sp>
        <p:nvSpPr>
          <p:cNvPr id="8" name="Ellips 7">
            <a:extLst>
              <a:ext uri="{FF2B5EF4-FFF2-40B4-BE49-F238E27FC236}">
                <a16:creationId xmlns:a16="http://schemas.microsoft.com/office/drawing/2014/main" id="{33C64BD0-C55F-4285-B52F-0FAD14A3712C}"/>
              </a:ext>
            </a:extLst>
          </p:cNvPr>
          <p:cNvSpPr/>
          <p:nvPr/>
        </p:nvSpPr>
        <p:spPr>
          <a:xfrm>
            <a:off x="3662894" y="7841161"/>
            <a:ext cx="294593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Ellips 8">
            <a:extLst>
              <a:ext uri="{FF2B5EF4-FFF2-40B4-BE49-F238E27FC236}">
                <a16:creationId xmlns:a16="http://schemas.microsoft.com/office/drawing/2014/main" id="{D9A2BDCF-FF04-4EBF-BEC9-5EE18F88CD69}"/>
              </a:ext>
            </a:extLst>
          </p:cNvPr>
          <p:cNvSpPr/>
          <p:nvPr/>
        </p:nvSpPr>
        <p:spPr>
          <a:xfrm>
            <a:off x="6446981" y="7841161"/>
            <a:ext cx="294593" cy="28803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8B9AE9FC-8B9A-43A9-AA21-5968E7F3E2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1866" y="7785194"/>
            <a:ext cx="254000" cy="266700"/>
          </a:xfrm>
          <a:prstGeom prst="rect">
            <a:avLst/>
          </a:prstGeom>
        </p:spPr>
      </p:pic>
      <p:pic>
        <p:nvPicPr>
          <p:cNvPr id="2" name="Bildobjekt 1">
            <a:extLst>
              <a:ext uri="{FF2B5EF4-FFF2-40B4-BE49-F238E27FC236}">
                <a16:creationId xmlns:a16="http://schemas.microsoft.com/office/drawing/2014/main" id="{1CE9ED55-E540-504F-BAF1-2E5E322456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11755" y="2084863"/>
            <a:ext cx="292633" cy="292633"/>
          </a:xfrm>
          <a:prstGeom prst="rect">
            <a:avLst/>
          </a:prstGeom>
        </p:spPr>
      </p:pic>
      <p:sp>
        <p:nvSpPr>
          <p:cNvPr id="3" name="Ellips 2">
            <a:extLst>
              <a:ext uri="{FF2B5EF4-FFF2-40B4-BE49-F238E27FC236}">
                <a16:creationId xmlns:a16="http://schemas.microsoft.com/office/drawing/2014/main" id="{B2B75434-CA41-185E-20C3-1E5A068C92AF}"/>
              </a:ext>
            </a:extLst>
          </p:cNvPr>
          <p:cNvSpPr/>
          <p:nvPr/>
        </p:nvSpPr>
        <p:spPr>
          <a:xfrm>
            <a:off x="11453182" y="4951140"/>
            <a:ext cx="294593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34BAFCDA-A30F-A1FB-1C42-C83EB07169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087119">
            <a:off x="11491383" y="2633782"/>
            <a:ext cx="292633" cy="292633"/>
          </a:xfrm>
          <a:prstGeom prst="rect">
            <a:avLst/>
          </a:prstGeom>
        </p:spPr>
      </p:pic>
      <p:sp>
        <p:nvSpPr>
          <p:cNvPr id="13" name="Ellips 12">
            <a:extLst>
              <a:ext uri="{FF2B5EF4-FFF2-40B4-BE49-F238E27FC236}">
                <a16:creationId xmlns:a16="http://schemas.microsoft.com/office/drawing/2014/main" id="{EE075B53-6E01-BEF1-0863-D4F9992FB7FE}"/>
              </a:ext>
            </a:extLst>
          </p:cNvPr>
          <p:cNvSpPr/>
          <p:nvPr/>
        </p:nvSpPr>
        <p:spPr>
          <a:xfrm>
            <a:off x="11625944" y="6158258"/>
            <a:ext cx="294593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Ellips 14">
            <a:extLst>
              <a:ext uri="{FF2B5EF4-FFF2-40B4-BE49-F238E27FC236}">
                <a16:creationId xmlns:a16="http://schemas.microsoft.com/office/drawing/2014/main" id="{D9A2BDCF-FF04-4EBF-BEC9-5EE18F88CD69}"/>
              </a:ext>
            </a:extLst>
          </p:cNvPr>
          <p:cNvSpPr/>
          <p:nvPr/>
        </p:nvSpPr>
        <p:spPr>
          <a:xfrm>
            <a:off x="9420839" y="5883996"/>
            <a:ext cx="294593" cy="28803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id="{34BAFCDA-A30F-A1FB-1C42-C83EB07169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63451" y="3381004"/>
            <a:ext cx="284324" cy="300271"/>
          </a:xfrm>
          <a:prstGeom prst="rect">
            <a:avLst/>
          </a:prstGeom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id="{34BAFCDA-A30F-A1FB-1C42-C83EB07169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71260" y="4545855"/>
            <a:ext cx="282696" cy="300271"/>
          </a:xfrm>
          <a:prstGeom prst="rect">
            <a:avLst/>
          </a:prstGeom>
        </p:spPr>
      </p:pic>
      <p:pic>
        <p:nvPicPr>
          <p:cNvPr id="20" name="Bildobjekt 19">
            <a:extLst>
              <a:ext uri="{FF2B5EF4-FFF2-40B4-BE49-F238E27FC236}">
                <a16:creationId xmlns:a16="http://schemas.microsoft.com/office/drawing/2014/main" id="{34BAFCDA-A30F-A1FB-1C42-C83EB07169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85567">
            <a:off x="11473958" y="6010061"/>
            <a:ext cx="302151" cy="320936"/>
          </a:xfrm>
          <a:prstGeom prst="rect">
            <a:avLst/>
          </a:prstGeom>
        </p:spPr>
      </p:pic>
      <p:sp>
        <p:nvSpPr>
          <p:cNvPr id="19" name="Ellips 18">
            <a:extLst>
              <a:ext uri="{FF2B5EF4-FFF2-40B4-BE49-F238E27FC236}">
                <a16:creationId xmlns:a16="http://schemas.microsoft.com/office/drawing/2014/main" id="{B2B75434-CA41-185E-20C3-1E5A068C92AF}"/>
              </a:ext>
            </a:extLst>
          </p:cNvPr>
          <p:cNvSpPr/>
          <p:nvPr/>
        </p:nvSpPr>
        <p:spPr>
          <a:xfrm>
            <a:off x="11471877" y="3939121"/>
            <a:ext cx="294593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1" name="Bildobjekt 20">
            <a:extLst>
              <a:ext uri="{FF2B5EF4-FFF2-40B4-BE49-F238E27FC236}">
                <a16:creationId xmlns:a16="http://schemas.microsoft.com/office/drawing/2014/main" id="{34BAFCDA-A30F-A1FB-1C42-C83EB07169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V="1">
            <a:off x="11417694" y="5497015"/>
            <a:ext cx="393583" cy="335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9119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1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8</TotalTime>
  <Words>952</Words>
  <Application>Microsoft Office PowerPoint</Application>
  <PresentationFormat>Bredbild</PresentationFormat>
  <Paragraphs>235</Paragraphs>
  <Slides>5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5</vt:i4>
      </vt:variant>
    </vt:vector>
  </HeadingPairs>
  <TitlesOfParts>
    <vt:vector size="11" baseType="lpstr">
      <vt:lpstr>Arial</vt:lpstr>
      <vt:lpstr>Calibri</vt:lpstr>
      <vt:lpstr>Graphik</vt:lpstr>
      <vt:lpstr>Times New Roman</vt:lpstr>
      <vt:lpstr>1_Office-tema</vt:lpstr>
      <vt:lpstr>think-cell Slide</vt:lpstr>
      <vt:lpstr>RPO Lung och allergi  Översiktlig handlingsplan för 2023  Uppdaterad RPO möte 231102 samt 231114  </vt:lpstr>
      <vt:lpstr>Revision av handlingsplan för RPO lung och allergi nov 2023</vt:lpstr>
      <vt:lpstr>KR 231115</vt:lpstr>
      <vt:lpstr>PowerPoint-presentation</vt:lpstr>
      <vt:lpstr>PowerPoint-presentation</vt:lpstr>
    </vt:vector>
  </TitlesOfParts>
  <Company>Region Jönköpings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Kentson Magnus</dc:creator>
  <cp:lastModifiedBy>Gunilla Persson</cp:lastModifiedBy>
  <cp:revision>10</cp:revision>
  <dcterms:created xsi:type="dcterms:W3CDTF">2023-09-22T11:18:51Z</dcterms:created>
  <dcterms:modified xsi:type="dcterms:W3CDTF">2023-11-21T07:43:45Z</dcterms:modified>
</cp:coreProperties>
</file>